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sldIdLst>
    <p:sldId id="257" r:id="rId3"/>
    <p:sldId id="258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70CC0A-9B72-44B3-AD2E-B8B8398EAD85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DF814B-6A97-48B1-907F-C41116DE73CA}">
      <dgm:prSet phldrT="[Text]"/>
      <dgm:spPr/>
      <dgm:t>
        <a:bodyPr/>
        <a:lstStyle/>
        <a:p>
          <a:r>
            <a:rPr lang="en-US" dirty="0" smtClean="0"/>
            <a:t>Data Understanding</a:t>
          </a:r>
          <a:endParaRPr lang="en-US" dirty="0"/>
        </a:p>
      </dgm:t>
    </dgm:pt>
    <dgm:pt modelId="{DE367F5E-5F18-48CE-9B9E-8C7A2540B857}" type="parTrans" cxnId="{7E0E9466-73DE-47DA-A7D0-EBD986A20459}">
      <dgm:prSet/>
      <dgm:spPr/>
      <dgm:t>
        <a:bodyPr/>
        <a:lstStyle/>
        <a:p>
          <a:endParaRPr lang="en-US"/>
        </a:p>
      </dgm:t>
    </dgm:pt>
    <dgm:pt modelId="{55BA39F3-C637-46BB-97CD-29149DC2DFBC}" type="sibTrans" cxnId="{7E0E9466-73DE-47DA-A7D0-EBD986A20459}">
      <dgm:prSet/>
      <dgm:spPr/>
      <dgm:t>
        <a:bodyPr/>
        <a:lstStyle/>
        <a:p>
          <a:endParaRPr lang="en-US"/>
        </a:p>
      </dgm:t>
    </dgm:pt>
    <dgm:pt modelId="{4DE982A2-45B2-40B5-A38F-9B1706745D2A}">
      <dgm:prSet phldrT="[Text]"/>
      <dgm:spPr/>
      <dgm:t>
        <a:bodyPr/>
        <a:lstStyle/>
        <a:p>
          <a:r>
            <a:rPr lang="en-US" dirty="0" smtClean="0"/>
            <a:t>Data preparation</a:t>
          </a:r>
          <a:endParaRPr lang="en-US" dirty="0"/>
        </a:p>
      </dgm:t>
    </dgm:pt>
    <dgm:pt modelId="{600549CF-91F1-451D-8F47-FA5077753AB7}" type="parTrans" cxnId="{A757BB18-55DD-42D9-937F-0EAEF24906D8}">
      <dgm:prSet/>
      <dgm:spPr/>
      <dgm:t>
        <a:bodyPr/>
        <a:lstStyle/>
        <a:p>
          <a:endParaRPr lang="en-US"/>
        </a:p>
      </dgm:t>
    </dgm:pt>
    <dgm:pt modelId="{FA3F993B-FB9A-4646-93D4-581F2CD7FB4E}" type="sibTrans" cxnId="{A757BB18-55DD-42D9-937F-0EAEF24906D8}">
      <dgm:prSet/>
      <dgm:spPr/>
      <dgm:t>
        <a:bodyPr/>
        <a:lstStyle/>
        <a:p>
          <a:endParaRPr lang="en-US"/>
        </a:p>
      </dgm:t>
    </dgm:pt>
    <dgm:pt modelId="{42A75C51-613C-49DF-B357-B5210355F1AE}">
      <dgm:prSet phldrT="[Text]"/>
      <dgm:spPr/>
      <dgm:t>
        <a:bodyPr/>
        <a:lstStyle/>
        <a:p>
          <a:r>
            <a:rPr lang="en-US" dirty="0" smtClean="0"/>
            <a:t>Model Build</a:t>
          </a:r>
          <a:endParaRPr lang="en-US" dirty="0"/>
        </a:p>
      </dgm:t>
    </dgm:pt>
    <dgm:pt modelId="{0A211C94-B8F1-458D-8FEC-FB29136B3EAC}" type="parTrans" cxnId="{69795290-5F51-4D2D-A3BA-E46F6FC82ABC}">
      <dgm:prSet/>
      <dgm:spPr/>
      <dgm:t>
        <a:bodyPr/>
        <a:lstStyle/>
        <a:p>
          <a:endParaRPr lang="en-US"/>
        </a:p>
      </dgm:t>
    </dgm:pt>
    <dgm:pt modelId="{6AA94F4A-C211-4A38-9A47-25CF1D2D9276}" type="sibTrans" cxnId="{69795290-5F51-4D2D-A3BA-E46F6FC82ABC}">
      <dgm:prSet/>
      <dgm:spPr/>
      <dgm:t>
        <a:bodyPr/>
        <a:lstStyle/>
        <a:p>
          <a:endParaRPr lang="en-US"/>
        </a:p>
      </dgm:t>
    </dgm:pt>
    <dgm:pt modelId="{454CF114-1CCA-4DED-A184-EF1808E9063D}">
      <dgm:prSet phldrT="[Text]"/>
      <dgm:spPr/>
      <dgm:t>
        <a:bodyPr/>
        <a:lstStyle/>
        <a:p>
          <a:r>
            <a:rPr lang="en-US" dirty="0" smtClean="0"/>
            <a:t>Model evaluation</a:t>
          </a:r>
          <a:endParaRPr lang="en-US" dirty="0"/>
        </a:p>
      </dgm:t>
    </dgm:pt>
    <dgm:pt modelId="{18E36277-753D-465C-99BD-3849E7ED3EC9}" type="parTrans" cxnId="{51D67A61-6538-4CEF-BD7E-803055029C24}">
      <dgm:prSet/>
      <dgm:spPr/>
      <dgm:t>
        <a:bodyPr/>
        <a:lstStyle/>
        <a:p>
          <a:endParaRPr lang="en-US"/>
        </a:p>
      </dgm:t>
    </dgm:pt>
    <dgm:pt modelId="{963722D3-573C-43DB-B14A-B96AD61AA7F8}" type="sibTrans" cxnId="{51D67A61-6538-4CEF-BD7E-803055029C24}">
      <dgm:prSet/>
      <dgm:spPr/>
      <dgm:t>
        <a:bodyPr/>
        <a:lstStyle/>
        <a:p>
          <a:endParaRPr lang="en-US"/>
        </a:p>
      </dgm:t>
    </dgm:pt>
    <dgm:pt modelId="{E3F7BF3E-7507-4738-A2CC-1D508B40A794}">
      <dgm:prSet phldrT="[Text]"/>
      <dgm:spPr/>
      <dgm:t>
        <a:bodyPr/>
        <a:lstStyle/>
        <a:p>
          <a:r>
            <a:rPr lang="en-US" dirty="0" smtClean="0"/>
            <a:t>Model Deployment</a:t>
          </a:r>
          <a:endParaRPr lang="en-US" dirty="0"/>
        </a:p>
      </dgm:t>
    </dgm:pt>
    <dgm:pt modelId="{0386DF89-B299-4207-AF6D-46445B5973C0}" type="parTrans" cxnId="{AF7C0F8C-BB0D-41A3-8848-BC81D42EF620}">
      <dgm:prSet/>
      <dgm:spPr/>
      <dgm:t>
        <a:bodyPr/>
        <a:lstStyle/>
        <a:p>
          <a:endParaRPr lang="en-US"/>
        </a:p>
      </dgm:t>
    </dgm:pt>
    <dgm:pt modelId="{32EA4819-3FA0-4E03-92A2-5A41AD402617}" type="sibTrans" cxnId="{AF7C0F8C-BB0D-41A3-8848-BC81D42EF620}">
      <dgm:prSet/>
      <dgm:spPr/>
      <dgm:t>
        <a:bodyPr/>
        <a:lstStyle/>
        <a:p>
          <a:endParaRPr lang="en-US"/>
        </a:p>
      </dgm:t>
    </dgm:pt>
    <dgm:pt modelId="{586841A6-DD98-4A4A-BB3B-0458D7917A31}">
      <dgm:prSet phldrT="[Text]"/>
      <dgm:spPr/>
      <dgm:t>
        <a:bodyPr/>
        <a:lstStyle/>
        <a:p>
          <a:r>
            <a:rPr lang="en-US" smtClean="0"/>
            <a:t>Business Understanding</a:t>
          </a:r>
          <a:endParaRPr lang="en-US" dirty="0"/>
        </a:p>
      </dgm:t>
    </dgm:pt>
    <dgm:pt modelId="{7BB7B3C3-8A7D-4270-8171-EC0A4D84A92F}" type="parTrans" cxnId="{CB87D290-3413-45C2-AA6C-F14B7AAD213F}">
      <dgm:prSet/>
      <dgm:spPr/>
      <dgm:t>
        <a:bodyPr/>
        <a:lstStyle/>
        <a:p>
          <a:endParaRPr lang="en-US"/>
        </a:p>
      </dgm:t>
    </dgm:pt>
    <dgm:pt modelId="{1A57476A-DEF4-420F-BA36-CE5ACCD2C704}" type="sibTrans" cxnId="{CB87D290-3413-45C2-AA6C-F14B7AAD213F}">
      <dgm:prSet/>
      <dgm:spPr/>
      <dgm:t>
        <a:bodyPr/>
        <a:lstStyle/>
        <a:p>
          <a:endParaRPr lang="en-US"/>
        </a:p>
      </dgm:t>
    </dgm:pt>
    <dgm:pt modelId="{D7B9A577-DF76-43DC-9D79-139CA6EFD24D}" type="pres">
      <dgm:prSet presAssocID="{EF70CC0A-9B72-44B3-AD2E-B8B8398EAD85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335170D-172D-40F8-8E84-3E3F10C3045B}" type="pres">
      <dgm:prSet presAssocID="{586841A6-DD98-4A4A-BB3B-0458D7917A31}" presName="Accent1" presStyleCnt="0"/>
      <dgm:spPr/>
    </dgm:pt>
    <dgm:pt modelId="{99185079-167A-4B0D-9ED2-96437955F29C}" type="pres">
      <dgm:prSet presAssocID="{586841A6-DD98-4A4A-BB3B-0458D7917A31}" presName="Accent" presStyleLbl="node1" presStyleIdx="0" presStyleCnt="6"/>
      <dgm:spPr/>
    </dgm:pt>
    <dgm:pt modelId="{2FBDE6CF-94B8-4779-B123-C6FE93875BF8}" type="pres">
      <dgm:prSet presAssocID="{586841A6-DD98-4A4A-BB3B-0458D7917A31}" presName="Parent1" presStyleLbl="revTx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45D158-E105-4939-89AB-1B44D0C56D48}" type="pres">
      <dgm:prSet presAssocID="{9CDF814B-6A97-48B1-907F-C41116DE73CA}" presName="Accent2" presStyleCnt="0"/>
      <dgm:spPr/>
    </dgm:pt>
    <dgm:pt modelId="{EEB7F1C9-4B7E-4264-BEC9-23A13CBBCBED}" type="pres">
      <dgm:prSet presAssocID="{9CDF814B-6A97-48B1-907F-C41116DE73CA}" presName="Accent" presStyleLbl="node1" presStyleIdx="1" presStyleCnt="6"/>
      <dgm:spPr/>
    </dgm:pt>
    <dgm:pt modelId="{B01E1C9E-5E8F-4FA9-85B1-13C86C4DDFFA}" type="pres">
      <dgm:prSet presAssocID="{9CDF814B-6A97-48B1-907F-C41116DE73CA}" presName="Parent2" presStyleLbl="revTx" presStyleIdx="1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184456-2DD7-45C2-B022-D521E0F131D7}" type="pres">
      <dgm:prSet presAssocID="{4DE982A2-45B2-40B5-A38F-9B1706745D2A}" presName="Accent3" presStyleCnt="0"/>
      <dgm:spPr/>
    </dgm:pt>
    <dgm:pt modelId="{AADFBD13-BA66-4120-A70A-5C1AADAADAB3}" type="pres">
      <dgm:prSet presAssocID="{4DE982A2-45B2-40B5-A38F-9B1706745D2A}" presName="Accent" presStyleLbl="node1" presStyleIdx="2" presStyleCnt="6"/>
      <dgm:spPr/>
    </dgm:pt>
    <dgm:pt modelId="{12750EB2-2B2E-4E11-8BA8-D857A6802EED}" type="pres">
      <dgm:prSet presAssocID="{4DE982A2-45B2-40B5-A38F-9B1706745D2A}" presName="Parent3" presStyleLbl="revTx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87B2E1-A252-4B9F-84CE-D73CA966AA8A}" type="pres">
      <dgm:prSet presAssocID="{42A75C51-613C-49DF-B357-B5210355F1AE}" presName="Accent4" presStyleCnt="0"/>
      <dgm:spPr/>
    </dgm:pt>
    <dgm:pt modelId="{8EC30DED-AA52-42B4-A294-4A32E7BC0E9F}" type="pres">
      <dgm:prSet presAssocID="{42A75C51-613C-49DF-B357-B5210355F1AE}" presName="Accent" presStyleLbl="node1" presStyleIdx="3" presStyleCnt="6"/>
      <dgm:spPr/>
    </dgm:pt>
    <dgm:pt modelId="{622F22A2-3E76-45C2-8896-AC1C6D9BD4DC}" type="pres">
      <dgm:prSet presAssocID="{42A75C51-613C-49DF-B357-B5210355F1AE}" presName="Parent4" presStyleLbl="revTx" presStyleIdx="3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E7920B-0871-46E8-A0CD-BB347F95C508}" type="pres">
      <dgm:prSet presAssocID="{454CF114-1CCA-4DED-A184-EF1808E9063D}" presName="Accent5" presStyleCnt="0"/>
      <dgm:spPr/>
    </dgm:pt>
    <dgm:pt modelId="{E2AE0880-5F20-43E1-B03E-13FB79BBCE74}" type="pres">
      <dgm:prSet presAssocID="{454CF114-1CCA-4DED-A184-EF1808E9063D}" presName="Accent" presStyleLbl="node1" presStyleIdx="4" presStyleCnt="6"/>
      <dgm:spPr/>
    </dgm:pt>
    <dgm:pt modelId="{E4BE338C-5B15-486D-AA52-1C6096A8E22A}" type="pres">
      <dgm:prSet presAssocID="{454CF114-1CCA-4DED-A184-EF1808E9063D}" presName="Parent5" presStyleLbl="revTx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F42F3E-4585-427E-BB4A-C5ACC60099F7}" type="pres">
      <dgm:prSet presAssocID="{E3F7BF3E-7507-4738-A2CC-1D508B40A794}" presName="Accent6" presStyleCnt="0"/>
      <dgm:spPr/>
    </dgm:pt>
    <dgm:pt modelId="{9B16C7D8-E376-4EC3-9CDC-A71D84C36DCB}" type="pres">
      <dgm:prSet presAssocID="{E3F7BF3E-7507-4738-A2CC-1D508B40A794}" presName="Accent" presStyleLbl="node1" presStyleIdx="5" presStyleCnt="6"/>
      <dgm:spPr/>
    </dgm:pt>
    <dgm:pt modelId="{2F59BFEA-E6E8-4473-98D9-CE1FA5304B1C}" type="pres">
      <dgm:prSet presAssocID="{E3F7BF3E-7507-4738-A2CC-1D508B40A794}" presName="Parent6" presStyleLbl="revTx" presStyleIdx="5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8D3D5A-28B1-401A-ABE0-470053C8A4C5}" type="presOf" srcId="{454CF114-1CCA-4DED-A184-EF1808E9063D}" destId="{E4BE338C-5B15-486D-AA52-1C6096A8E22A}" srcOrd="0" destOrd="0" presId="urn:microsoft.com/office/officeart/2009/layout/CircleArrowProcess"/>
    <dgm:cxn modelId="{4328EECD-4F6E-4334-ADFB-05A593E1694D}" type="presOf" srcId="{42A75C51-613C-49DF-B357-B5210355F1AE}" destId="{622F22A2-3E76-45C2-8896-AC1C6D9BD4DC}" srcOrd="0" destOrd="0" presId="urn:microsoft.com/office/officeart/2009/layout/CircleArrowProcess"/>
    <dgm:cxn modelId="{51D67A61-6538-4CEF-BD7E-803055029C24}" srcId="{EF70CC0A-9B72-44B3-AD2E-B8B8398EAD85}" destId="{454CF114-1CCA-4DED-A184-EF1808E9063D}" srcOrd="4" destOrd="0" parTransId="{18E36277-753D-465C-99BD-3849E7ED3EC9}" sibTransId="{963722D3-573C-43DB-B14A-B96AD61AA7F8}"/>
    <dgm:cxn modelId="{C6C43EBA-E9A6-4833-BF1B-739A26A7D013}" type="presOf" srcId="{4DE982A2-45B2-40B5-A38F-9B1706745D2A}" destId="{12750EB2-2B2E-4E11-8BA8-D857A6802EED}" srcOrd="0" destOrd="0" presId="urn:microsoft.com/office/officeart/2009/layout/CircleArrowProcess"/>
    <dgm:cxn modelId="{7E0E9466-73DE-47DA-A7D0-EBD986A20459}" srcId="{EF70CC0A-9B72-44B3-AD2E-B8B8398EAD85}" destId="{9CDF814B-6A97-48B1-907F-C41116DE73CA}" srcOrd="1" destOrd="0" parTransId="{DE367F5E-5F18-48CE-9B9E-8C7A2540B857}" sibTransId="{55BA39F3-C637-46BB-97CD-29149DC2DFBC}"/>
    <dgm:cxn modelId="{CB87D290-3413-45C2-AA6C-F14B7AAD213F}" srcId="{EF70CC0A-9B72-44B3-AD2E-B8B8398EAD85}" destId="{586841A6-DD98-4A4A-BB3B-0458D7917A31}" srcOrd="0" destOrd="0" parTransId="{7BB7B3C3-8A7D-4270-8171-EC0A4D84A92F}" sibTransId="{1A57476A-DEF4-420F-BA36-CE5ACCD2C704}"/>
    <dgm:cxn modelId="{9892AD0F-5809-4C87-A73F-89571AF5D0A7}" type="presOf" srcId="{586841A6-DD98-4A4A-BB3B-0458D7917A31}" destId="{2FBDE6CF-94B8-4779-B123-C6FE93875BF8}" srcOrd="0" destOrd="0" presId="urn:microsoft.com/office/officeart/2009/layout/CircleArrowProcess"/>
    <dgm:cxn modelId="{69795290-5F51-4D2D-A3BA-E46F6FC82ABC}" srcId="{EF70CC0A-9B72-44B3-AD2E-B8B8398EAD85}" destId="{42A75C51-613C-49DF-B357-B5210355F1AE}" srcOrd="3" destOrd="0" parTransId="{0A211C94-B8F1-458D-8FEC-FB29136B3EAC}" sibTransId="{6AA94F4A-C211-4A38-9A47-25CF1D2D9276}"/>
    <dgm:cxn modelId="{AF7C0F8C-BB0D-41A3-8848-BC81D42EF620}" srcId="{EF70CC0A-9B72-44B3-AD2E-B8B8398EAD85}" destId="{E3F7BF3E-7507-4738-A2CC-1D508B40A794}" srcOrd="5" destOrd="0" parTransId="{0386DF89-B299-4207-AF6D-46445B5973C0}" sibTransId="{32EA4819-3FA0-4E03-92A2-5A41AD402617}"/>
    <dgm:cxn modelId="{93581419-24AE-4EF7-A16F-7727D97C0408}" type="presOf" srcId="{EF70CC0A-9B72-44B3-AD2E-B8B8398EAD85}" destId="{D7B9A577-DF76-43DC-9D79-139CA6EFD24D}" srcOrd="0" destOrd="0" presId="urn:microsoft.com/office/officeart/2009/layout/CircleArrowProcess"/>
    <dgm:cxn modelId="{A757BB18-55DD-42D9-937F-0EAEF24906D8}" srcId="{EF70CC0A-9B72-44B3-AD2E-B8B8398EAD85}" destId="{4DE982A2-45B2-40B5-A38F-9B1706745D2A}" srcOrd="2" destOrd="0" parTransId="{600549CF-91F1-451D-8F47-FA5077753AB7}" sibTransId="{FA3F993B-FB9A-4646-93D4-581F2CD7FB4E}"/>
    <dgm:cxn modelId="{E3E2A8AC-A062-4A84-9A94-6A2BCE885D36}" type="presOf" srcId="{E3F7BF3E-7507-4738-A2CC-1D508B40A794}" destId="{2F59BFEA-E6E8-4473-98D9-CE1FA5304B1C}" srcOrd="0" destOrd="0" presId="urn:microsoft.com/office/officeart/2009/layout/CircleArrowProcess"/>
    <dgm:cxn modelId="{731ECC87-8FFE-43F6-9684-48EB3A0BF882}" type="presOf" srcId="{9CDF814B-6A97-48B1-907F-C41116DE73CA}" destId="{B01E1C9E-5E8F-4FA9-85B1-13C86C4DDFFA}" srcOrd="0" destOrd="0" presId="urn:microsoft.com/office/officeart/2009/layout/CircleArrowProcess"/>
    <dgm:cxn modelId="{662A0035-B9B4-460F-9A5E-569F697E202D}" type="presParOf" srcId="{D7B9A577-DF76-43DC-9D79-139CA6EFD24D}" destId="{9335170D-172D-40F8-8E84-3E3F10C3045B}" srcOrd="0" destOrd="0" presId="urn:microsoft.com/office/officeart/2009/layout/CircleArrowProcess"/>
    <dgm:cxn modelId="{CBEC39EB-E621-4A4F-9BCF-ECA4774E6FAC}" type="presParOf" srcId="{9335170D-172D-40F8-8E84-3E3F10C3045B}" destId="{99185079-167A-4B0D-9ED2-96437955F29C}" srcOrd="0" destOrd="0" presId="urn:microsoft.com/office/officeart/2009/layout/CircleArrowProcess"/>
    <dgm:cxn modelId="{773FED8D-041B-4106-9E13-B31F89163717}" type="presParOf" srcId="{D7B9A577-DF76-43DC-9D79-139CA6EFD24D}" destId="{2FBDE6CF-94B8-4779-B123-C6FE93875BF8}" srcOrd="1" destOrd="0" presId="urn:microsoft.com/office/officeart/2009/layout/CircleArrowProcess"/>
    <dgm:cxn modelId="{6A62AE1C-ADCB-4426-BD9F-1777731DE29C}" type="presParOf" srcId="{D7B9A577-DF76-43DC-9D79-139CA6EFD24D}" destId="{C845D158-E105-4939-89AB-1B44D0C56D48}" srcOrd="2" destOrd="0" presId="urn:microsoft.com/office/officeart/2009/layout/CircleArrowProcess"/>
    <dgm:cxn modelId="{D51AB49C-AD7C-427C-86A1-851BE14A51ED}" type="presParOf" srcId="{C845D158-E105-4939-89AB-1B44D0C56D48}" destId="{EEB7F1C9-4B7E-4264-BEC9-23A13CBBCBED}" srcOrd="0" destOrd="0" presId="urn:microsoft.com/office/officeart/2009/layout/CircleArrowProcess"/>
    <dgm:cxn modelId="{168778D6-4AC4-41E7-A863-2CFA9BFA355A}" type="presParOf" srcId="{D7B9A577-DF76-43DC-9D79-139CA6EFD24D}" destId="{B01E1C9E-5E8F-4FA9-85B1-13C86C4DDFFA}" srcOrd="3" destOrd="0" presId="urn:microsoft.com/office/officeart/2009/layout/CircleArrowProcess"/>
    <dgm:cxn modelId="{52EC3A5A-C0C2-4DC5-A101-8BC77A8CF2CB}" type="presParOf" srcId="{D7B9A577-DF76-43DC-9D79-139CA6EFD24D}" destId="{7C184456-2DD7-45C2-B022-D521E0F131D7}" srcOrd="4" destOrd="0" presId="urn:microsoft.com/office/officeart/2009/layout/CircleArrowProcess"/>
    <dgm:cxn modelId="{5E85D41D-5150-4812-B144-DECA806D695F}" type="presParOf" srcId="{7C184456-2DD7-45C2-B022-D521E0F131D7}" destId="{AADFBD13-BA66-4120-A70A-5C1AADAADAB3}" srcOrd="0" destOrd="0" presId="urn:microsoft.com/office/officeart/2009/layout/CircleArrowProcess"/>
    <dgm:cxn modelId="{1399A883-8F49-495F-BB8E-383F4578C7BD}" type="presParOf" srcId="{D7B9A577-DF76-43DC-9D79-139CA6EFD24D}" destId="{12750EB2-2B2E-4E11-8BA8-D857A6802EED}" srcOrd="5" destOrd="0" presId="urn:microsoft.com/office/officeart/2009/layout/CircleArrowProcess"/>
    <dgm:cxn modelId="{1D9A8387-4C8E-4608-A83F-D2ABA63E43AD}" type="presParOf" srcId="{D7B9A577-DF76-43DC-9D79-139CA6EFD24D}" destId="{5E87B2E1-A252-4B9F-84CE-D73CA966AA8A}" srcOrd="6" destOrd="0" presId="urn:microsoft.com/office/officeart/2009/layout/CircleArrowProcess"/>
    <dgm:cxn modelId="{4B3593A2-DA9B-4412-A9C4-0B9B1E4B7859}" type="presParOf" srcId="{5E87B2E1-A252-4B9F-84CE-D73CA966AA8A}" destId="{8EC30DED-AA52-42B4-A294-4A32E7BC0E9F}" srcOrd="0" destOrd="0" presId="urn:microsoft.com/office/officeart/2009/layout/CircleArrowProcess"/>
    <dgm:cxn modelId="{ED078B04-71A1-4011-86D3-90F91ABA0F91}" type="presParOf" srcId="{D7B9A577-DF76-43DC-9D79-139CA6EFD24D}" destId="{622F22A2-3E76-45C2-8896-AC1C6D9BD4DC}" srcOrd="7" destOrd="0" presId="urn:microsoft.com/office/officeart/2009/layout/CircleArrowProcess"/>
    <dgm:cxn modelId="{0F281558-28BD-4214-94D5-661713F92092}" type="presParOf" srcId="{D7B9A577-DF76-43DC-9D79-139CA6EFD24D}" destId="{D9E7920B-0871-46E8-A0CD-BB347F95C508}" srcOrd="8" destOrd="0" presId="urn:microsoft.com/office/officeart/2009/layout/CircleArrowProcess"/>
    <dgm:cxn modelId="{301FC5F0-93AF-49DF-B859-54FC199CDA81}" type="presParOf" srcId="{D9E7920B-0871-46E8-A0CD-BB347F95C508}" destId="{E2AE0880-5F20-43E1-B03E-13FB79BBCE74}" srcOrd="0" destOrd="0" presId="urn:microsoft.com/office/officeart/2009/layout/CircleArrowProcess"/>
    <dgm:cxn modelId="{725D3042-ACEB-4C66-ABC2-47DA0D8CE811}" type="presParOf" srcId="{D7B9A577-DF76-43DC-9D79-139CA6EFD24D}" destId="{E4BE338C-5B15-486D-AA52-1C6096A8E22A}" srcOrd="9" destOrd="0" presId="urn:microsoft.com/office/officeart/2009/layout/CircleArrowProcess"/>
    <dgm:cxn modelId="{A2E8A661-8DC5-4050-BEA0-226CD4188DA9}" type="presParOf" srcId="{D7B9A577-DF76-43DC-9D79-139CA6EFD24D}" destId="{5AF42F3E-4585-427E-BB4A-C5ACC60099F7}" srcOrd="10" destOrd="0" presId="urn:microsoft.com/office/officeart/2009/layout/CircleArrowProcess"/>
    <dgm:cxn modelId="{FA9B2AE2-1D30-4AB2-98C7-33A1B3DBDE5D}" type="presParOf" srcId="{5AF42F3E-4585-427E-BB4A-C5ACC60099F7}" destId="{9B16C7D8-E376-4EC3-9CDC-A71D84C36DCB}" srcOrd="0" destOrd="0" presId="urn:microsoft.com/office/officeart/2009/layout/CircleArrowProcess"/>
    <dgm:cxn modelId="{13C93398-954A-42F3-92A7-981B244076A5}" type="presParOf" srcId="{D7B9A577-DF76-43DC-9D79-139CA6EFD24D}" destId="{2F59BFEA-E6E8-4473-98D9-CE1FA5304B1C}" srcOrd="11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78B245B-3086-47FD-84E6-46A7BBE60CE1}" type="doc">
      <dgm:prSet loTypeId="urn:microsoft.com/office/officeart/2005/8/layout/hProcess9" loCatId="process" qsTypeId="urn:microsoft.com/office/officeart/2005/8/quickstyle/simple5" qsCatId="simple" csTypeId="urn:microsoft.com/office/officeart/2005/8/colors/accent1_2" csCatId="accent1" phldr="1"/>
      <dgm:spPr/>
    </dgm:pt>
    <dgm:pt modelId="{5BD282F6-57D6-4F3E-92ED-18522138E9DB}">
      <dgm:prSet phldrT="[Text]"/>
      <dgm:spPr/>
      <dgm:t>
        <a:bodyPr/>
        <a:lstStyle/>
        <a:p>
          <a:r>
            <a:rPr lang="en-US" dirty="0" smtClean="0"/>
            <a:t>Data</a:t>
          </a:r>
          <a:endParaRPr lang="en-US" dirty="0"/>
        </a:p>
      </dgm:t>
    </dgm:pt>
    <dgm:pt modelId="{960510F9-4A2A-4A91-9CF3-74B2C7A1FC17}" type="parTrans" cxnId="{6952E70F-7BEF-4E7D-93F8-10B3543FACB5}">
      <dgm:prSet/>
      <dgm:spPr/>
      <dgm:t>
        <a:bodyPr/>
        <a:lstStyle/>
        <a:p>
          <a:endParaRPr lang="en-US"/>
        </a:p>
      </dgm:t>
    </dgm:pt>
    <dgm:pt modelId="{BD2777E6-81DA-4FAE-A540-DBEF4EB38D00}" type="sibTrans" cxnId="{6952E70F-7BEF-4E7D-93F8-10B3543FACB5}">
      <dgm:prSet/>
      <dgm:spPr/>
      <dgm:t>
        <a:bodyPr/>
        <a:lstStyle/>
        <a:p>
          <a:endParaRPr lang="en-US"/>
        </a:p>
      </dgm:t>
    </dgm:pt>
    <dgm:pt modelId="{0B8EA834-449E-4635-9F43-0EF24B6E8550}">
      <dgm:prSet phldrT="[Text]"/>
      <dgm:spPr/>
      <dgm:t>
        <a:bodyPr/>
        <a:lstStyle/>
        <a:p>
          <a:r>
            <a:rPr lang="en-US" dirty="0" smtClean="0"/>
            <a:t>Information</a:t>
          </a:r>
          <a:endParaRPr lang="en-US" dirty="0"/>
        </a:p>
      </dgm:t>
    </dgm:pt>
    <dgm:pt modelId="{BE33AE16-37CF-4DED-85F1-1551A429EACB}" type="parTrans" cxnId="{3C0172EA-BAF5-462C-B165-2FE45BFB35AA}">
      <dgm:prSet/>
      <dgm:spPr/>
      <dgm:t>
        <a:bodyPr/>
        <a:lstStyle/>
        <a:p>
          <a:endParaRPr lang="en-US"/>
        </a:p>
      </dgm:t>
    </dgm:pt>
    <dgm:pt modelId="{58A7D462-B312-4614-B88C-BBB6696F2356}" type="sibTrans" cxnId="{3C0172EA-BAF5-462C-B165-2FE45BFB35AA}">
      <dgm:prSet/>
      <dgm:spPr/>
      <dgm:t>
        <a:bodyPr/>
        <a:lstStyle/>
        <a:p>
          <a:endParaRPr lang="en-US"/>
        </a:p>
      </dgm:t>
    </dgm:pt>
    <dgm:pt modelId="{1314B546-3EAE-4982-B756-A3EFA8292C3F}">
      <dgm:prSet phldrT="[Text]"/>
      <dgm:spPr/>
      <dgm:t>
        <a:bodyPr/>
        <a:lstStyle/>
        <a:p>
          <a:r>
            <a:rPr lang="en-US" dirty="0" smtClean="0"/>
            <a:t>Action</a:t>
          </a:r>
          <a:endParaRPr lang="en-US" dirty="0"/>
        </a:p>
      </dgm:t>
    </dgm:pt>
    <dgm:pt modelId="{D02A1B7F-ECB2-4589-96AC-9483C3A13E88}" type="parTrans" cxnId="{8A595C0A-1D97-4145-ACEF-D5A70D04B413}">
      <dgm:prSet/>
      <dgm:spPr/>
      <dgm:t>
        <a:bodyPr/>
        <a:lstStyle/>
        <a:p>
          <a:endParaRPr lang="en-US"/>
        </a:p>
      </dgm:t>
    </dgm:pt>
    <dgm:pt modelId="{F920068C-D4F4-4387-825B-D32056C41530}" type="sibTrans" cxnId="{8A595C0A-1D97-4145-ACEF-D5A70D04B413}">
      <dgm:prSet/>
      <dgm:spPr/>
      <dgm:t>
        <a:bodyPr/>
        <a:lstStyle/>
        <a:p>
          <a:endParaRPr lang="en-US"/>
        </a:p>
      </dgm:t>
    </dgm:pt>
    <dgm:pt modelId="{1DDC477F-B080-4887-968C-33E088168B25}" type="pres">
      <dgm:prSet presAssocID="{D78B245B-3086-47FD-84E6-46A7BBE60CE1}" presName="CompostProcess" presStyleCnt="0">
        <dgm:presLayoutVars>
          <dgm:dir/>
          <dgm:resizeHandles val="exact"/>
        </dgm:presLayoutVars>
      </dgm:prSet>
      <dgm:spPr/>
    </dgm:pt>
    <dgm:pt modelId="{E7C10E94-D445-47A3-81FE-E9E42B1527E4}" type="pres">
      <dgm:prSet presAssocID="{D78B245B-3086-47FD-84E6-46A7BBE60CE1}" presName="arrow" presStyleLbl="bgShp" presStyleIdx="0" presStyleCnt="1"/>
      <dgm:spPr/>
    </dgm:pt>
    <dgm:pt modelId="{C640403C-1864-4E93-9A7C-01278E3BAD51}" type="pres">
      <dgm:prSet presAssocID="{D78B245B-3086-47FD-84E6-46A7BBE60CE1}" presName="linearProcess" presStyleCnt="0"/>
      <dgm:spPr/>
    </dgm:pt>
    <dgm:pt modelId="{235F43D3-3919-41CF-8478-CBA7927EDA25}" type="pres">
      <dgm:prSet presAssocID="{5BD282F6-57D6-4F3E-92ED-18522138E9DB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013041-A05B-4620-AFEB-54016B1160CB}" type="pres">
      <dgm:prSet presAssocID="{BD2777E6-81DA-4FAE-A540-DBEF4EB38D00}" presName="sibTrans" presStyleCnt="0"/>
      <dgm:spPr/>
    </dgm:pt>
    <dgm:pt modelId="{F46710ED-988C-4CB5-B880-B72D4C5CEA00}" type="pres">
      <dgm:prSet presAssocID="{0B8EA834-449E-4635-9F43-0EF24B6E8550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26FBB3-BDA4-4121-9F92-5D3C1928DE4C}" type="pres">
      <dgm:prSet presAssocID="{58A7D462-B312-4614-B88C-BBB6696F2356}" presName="sibTrans" presStyleCnt="0"/>
      <dgm:spPr/>
    </dgm:pt>
    <dgm:pt modelId="{5AC59678-083B-4267-A9EF-7908E1B4D45B}" type="pres">
      <dgm:prSet presAssocID="{1314B546-3EAE-4982-B756-A3EFA8292C3F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6E1166B-C28C-4BB6-A7DE-63421AAA0893}" type="presOf" srcId="{D78B245B-3086-47FD-84E6-46A7BBE60CE1}" destId="{1DDC477F-B080-4887-968C-33E088168B25}" srcOrd="0" destOrd="0" presId="urn:microsoft.com/office/officeart/2005/8/layout/hProcess9"/>
    <dgm:cxn modelId="{84C7FE0A-B4B9-4BBE-AF92-77643983CA71}" type="presOf" srcId="{0B8EA834-449E-4635-9F43-0EF24B6E8550}" destId="{F46710ED-988C-4CB5-B880-B72D4C5CEA00}" srcOrd="0" destOrd="0" presId="urn:microsoft.com/office/officeart/2005/8/layout/hProcess9"/>
    <dgm:cxn modelId="{31B3003F-F63D-48EA-85F2-D6F879F0BB32}" type="presOf" srcId="{5BD282F6-57D6-4F3E-92ED-18522138E9DB}" destId="{235F43D3-3919-41CF-8478-CBA7927EDA25}" srcOrd="0" destOrd="0" presId="urn:microsoft.com/office/officeart/2005/8/layout/hProcess9"/>
    <dgm:cxn modelId="{8A595C0A-1D97-4145-ACEF-D5A70D04B413}" srcId="{D78B245B-3086-47FD-84E6-46A7BBE60CE1}" destId="{1314B546-3EAE-4982-B756-A3EFA8292C3F}" srcOrd="2" destOrd="0" parTransId="{D02A1B7F-ECB2-4589-96AC-9483C3A13E88}" sibTransId="{F920068C-D4F4-4387-825B-D32056C41530}"/>
    <dgm:cxn modelId="{316FC92F-7E5D-4B15-A14E-00718902F134}" type="presOf" srcId="{1314B546-3EAE-4982-B756-A3EFA8292C3F}" destId="{5AC59678-083B-4267-A9EF-7908E1B4D45B}" srcOrd="0" destOrd="0" presId="urn:microsoft.com/office/officeart/2005/8/layout/hProcess9"/>
    <dgm:cxn modelId="{3C0172EA-BAF5-462C-B165-2FE45BFB35AA}" srcId="{D78B245B-3086-47FD-84E6-46A7BBE60CE1}" destId="{0B8EA834-449E-4635-9F43-0EF24B6E8550}" srcOrd="1" destOrd="0" parTransId="{BE33AE16-37CF-4DED-85F1-1551A429EACB}" sibTransId="{58A7D462-B312-4614-B88C-BBB6696F2356}"/>
    <dgm:cxn modelId="{6952E70F-7BEF-4E7D-93F8-10B3543FACB5}" srcId="{D78B245B-3086-47FD-84E6-46A7BBE60CE1}" destId="{5BD282F6-57D6-4F3E-92ED-18522138E9DB}" srcOrd="0" destOrd="0" parTransId="{960510F9-4A2A-4A91-9CF3-74B2C7A1FC17}" sibTransId="{BD2777E6-81DA-4FAE-A540-DBEF4EB38D00}"/>
    <dgm:cxn modelId="{B289B1E3-7DED-4ED2-88A3-A3530BC1A08F}" type="presParOf" srcId="{1DDC477F-B080-4887-968C-33E088168B25}" destId="{E7C10E94-D445-47A3-81FE-E9E42B1527E4}" srcOrd="0" destOrd="0" presId="urn:microsoft.com/office/officeart/2005/8/layout/hProcess9"/>
    <dgm:cxn modelId="{AFEE6854-1F1D-4FC9-8BD6-B81577F5E3D3}" type="presParOf" srcId="{1DDC477F-B080-4887-968C-33E088168B25}" destId="{C640403C-1864-4E93-9A7C-01278E3BAD51}" srcOrd="1" destOrd="0" presId="urn:microsoft.com/office/officeart/2005/8/layout/hProcess9"/>
    <dgm:cxn modelId="{46FF8AE0-ADF4-4D17-87DE-0B4129055B58}" type="presParOf" srcId="{C640403C-1864-4E93-9A7C-01278E3BAD51}" destId="{235F43D3-3919-41CF-8478-CBA7927EDA25}" srcOrd="0" destOrd="0" presId="urn:microsoft.com/office/officeart/2005/8/layout/hProcess9"/>
    <dgm:cxn modelId="{3593561E-AA68-47BA-8DE4-57FA18E037C4}" type="presParOf" srcId="{C640403C-1864-4E93-9A7C-01278E3BAD51}" destId="{D9013041-A05B-4620-AFEB-54016B1160CB}" srcOrd="1" destOrd="0" presId="urn:microsoft.com/office/officeart/2005/8/layout/hProcess9"/>
    <dgm:cxn modelId="{5C240DD0-F165-424F-B8DE-714C0B6F4510}" type="presParOf" srcId="{C640403C-1864-4E93-9A7C-01278E3BAD51}" destId="{F46710ED-988C-4CB5-B880-B72D4C5CEA00}" srcOrd="2" destOrd="0" presId="urn:microsoft.com/office/officeart/2005/8/layout/hProcess9"/>
    <dgm:cxn modelId="{2BB83FCA-F57F-4F23-BC4A-9BC0D16017F0}" type="presParOf" srcId="{C640403C-1864-4E93-9A7C-01278E3BAD51}" destId="{B026FBB3-BDA4-4121-9F92-5D3C1928DE4C}" srcOrd="3" destOrd="0" presId="urn:microsoft.com/office/officeart/2005/8/layout/hProcess9"/>
    <dgm:cxn modelId="{6D02A084-3864-4188-8A97-734B3F2A37BC}" type="presParOf" srcId="{C640403C-1864-4E93-9A7C-01278E3BAD51}" destId="{5AC59678-083B-4267-A9EF-7908E1B4D45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185079-167A-4B0D-9ED2-96437955F29C}">
      <dsp:nvSpPr>
        <dsp:cNvPr id="0" name=""/>
        <dsp:cNvSpPr/>
      </dsp:nvSpPr>
      <dsp:spPr>
        <a:xfrm>
          <a:off x="2357438" y="0"/>
          <a:ext cx="1068310" cy="1068425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BDE6CF-94B8-4779-B123-C6FE93875BF8}">
      <dsp:nvSpPr>
        <dsp:cNvPr id="0" name=""/>
        <dsp:cNvSpPr/>
      </dsp:nvSpPr>
      <dsp:spPr>
        <a:xfrm>
          <a:off x="2593303" y="386892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smtClean="0"/>
            <a:t>Business Understanding</a:t>
          </a:r>
          <a:endParaRPr lang="en-US" sz="700" kern="1200" dirty="0"/>
        </a:p>
      </dsp:txBody>
      <dsp:txXfrm>
        <a:off x="2593303" y="386892"/>
        <a:ext cx="596177" cy="297891"/>
      </dsp:txXfrm>
    </dsp:sp>
    <dsp:sp modelId="{EEB7F1C9-4B7E-4264-BEC9-23A13CBBCBED}">
      <dsp:nvSpPr>
        <dsp:cNvPr id="0" name=""/>
        <dsp:cNvSpPr/>
      </dsp:nvSpPr>
      <dsp:spPr>
        <a:xfrm>
          <a:off x="2060651" y="614070"/>
          <a:ext cx="1068310" cy="1068425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1E1C9E-5E8F-4FA9-85B1-13C86C4DDFFA}">
      <dsp:nvSpPr>
        <dsp:cNvPr id="0" name=""/>
        <dsp:cNvSpPr/>
      </dsp:nvSpPr>
      <dsp:spPr>
        <a:xfrm>
          <a:off x="2295315" y="1002182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Data Understanding</a:t>
          </a:r>
          <a:endParaRPr lang="en-US" sz="700" kern="1200" dirty="0"/>
        </a:p>
      </dsp:txBody>
      <dsp:txXfrm>
        <a:off x="2295315" y="1002182"/>
        <a:ext cx="596177" cy="297891"/>
      </dsp:txXfrm>
    </dsp:sp>
    <dsp:sp modelId="{AADFBD13-BA66-4120-A70A-5C1AADAADAB3}">
      <dsp:nvSpPr>
        <dsp:cNvPr id="0" name=""/>
        <dsp:cNvSpPr/>
      </dsp:nvSpPr>
      <dsp:spPr>
        <a:xfrm>
          <a:off x="2357438" y="1230172"/>
          <a:ext cx="1068310" cy="1068425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750EB2-2B2E-4E11-8BA8-D857A6802EED}">
      <dsp:nvSpPr>
        <dsp:cNvPr id="0" name=""/>
        <dsp:cNvSpPr/>
      </dsp:nvSpPr>
      <dsp:spPr>
        <a:xfrm>
          <a:off x="2593303" y="1617065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Data preparation</a:t>
          </a:r>
          <a:endParaRPr lang="en-US" sz="700" kern="1200" dirty="0"/>
        </a:p>
      </dsp:txBody>
      <dsp:txXfrm>
        <a:off x="2593303" y="1617065"/>
        <a:ext cx="596177" cy="297891"/>
      </dsp:txXfrm>
    </dsp:sp>
    <dsp:sp modelId="{8EC30DED-AA52-42B4-A294-4A32E7BC0E9F}">
      <dsp:nvSpPr>
        <dsp:cNvPr id="0" name=""/>
        <dsp:cNvSpPr/>
      </dsp:nvSpPr>
      <dsp:spPr>
        <a:xfrm>
          <a:off x="2060651" y="1845462"/>
          <a:ext cx="1068310" cy="1068425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2F22A2-3E76-45C2-8896-AC1C6D9BD4DC}">
      <dsp:nvSpPr>
        <dsp:cNvPr id="0" name=""/>
        <dsp:cNvSpPr/>
      </dsp:nvSpPr>
      <dsp:spPr>
        <a:xfrm>
          <a:off x="2295315" y="2232355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Model Build</a:t>
          </a:r>
          <a:endParaRPr lang="en-US" sz="700" kern="1200" dirty="0"/>
        </a:p>
      </dsp:txBody>
      <dsp:txXfrm>
        <a:off x="2295315" y="2232355"/>
        <a:ext cx="596177" cy="297891"/>
      </dsp:txXfrm>
    </dsp:sp>
    <dsp:sp modelId="{E2AE0880-5F20-43E1-B03E-13FB79BBCE74}">
      <dsp:nvSpPr>
        <dsp:cNvPr id="0" name=""/>
        <dsp:cNvSpPr/>
      </dsp:nvSpPr>
      <dsp:spPr>
        <a:xfrm>
          <a:off x="2357438" y="2459939"/>
          <a:ext cx="1068310" cy="1068425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BE338C-5B15-486D-AA52-1C6096A8E22A}">
      <dsp:nvSpPr>
        <dsp:cNvPr id="0" name=""/>
        <dsp:cNvSpPr/>
      </dsp:nvSpPr>
      <dsp:spPr>
        <a:xfrm>
          <a:off x="2593303" y="2846832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Model evaluation</a:t>
          </a:r>
          <a:endParaRPr lang="en-US" sz="700" kern="1200" dirty="0"/>
        </a:p>
      </dsp:txBody>
      <dsp:txXfrm>
        <a:off x="2593303" y="2846832"/>
        <a:ext cx="596177" cy="297891"/>
      </dsp:txXfrm>
    </dsp:sp>
    <dsp:sp modelId="{9B16C7D8-E376-4EC3-9CDC-A71D84C36DCB}">
      <dsp:nvSpPr>
        <dsp:cNvPr id="0" name=""/>
        <dsp:cNvSpPr/>
      </dsp:nvSpPr>
      <dsp:spPr>
        <a:xfrm>
          <a:off x="2136802" y="3145536"/>
          <a:ext cx="917812" cy="918464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59BFEA-E6E8-4473-98D9-CE1FA5304B1C}">
      <dsp:nvSpPr>
        <dsp:cNvPr id="0" name=""/>
        <dsp:cNvSpPr/>
      </dsp:nvSpPr>
      <dsp:spPr>
        <a:xfrm>
          <a:off x="2295315" y="3462121"/>
          <a:ext cx="596177" cy="2978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Model Deployment</a:t>
          </a:r>
          <a:endParaRPr lang="en-US" sz="700" kern="1200" dirty="0"/>
        </a:p>
      </dsp:txBody>
      <dsp:txXfrm>
        <a:off x="2295315" y="3462121"/>
        <a:ext cx="596177" cy="2978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C10E94-D445-47A3-81FE-E9E42B1527E4}">
      <dsp:nvSpPr>
        <dsp:cNvPr id="0" name=""/>
        <dsp:cNvSpPr/>
      </dsp:nvSpPr>
      <dsp:spPr>
        <a:xfrm>
          <a:off x="457199" y="0"/>
          <a:ext cx="5181600" cy="762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35F43D3-3919-41CF-8478-CBA7927EDA25}">
      <dsp:nvSpPr>
        <dsp:cNvPr id="0" name=""/>
        <dsp:cNvSpPr/>
      </dsp:nvSpPr>
      <dsp:spPr>
        <a:xfrm>
          <a:off x="35421" y="228600"/>
          <a:ext cx="1828800" cy="304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ata</a:t>
          </a:r>
          <a:endParaRPr lang="en-US" sz="1200" kern="1200" dirty="0"/>
        </a:p>
      </dsp:txBody>
      <dsp:txXfrm>
        <a:off x="50300" y="243479"/>
        <a:ext cx="1799042" cy="275042"/>
      </dsp:txXfrm>
    </dsp:sp>
    <dsp:sp modelId="{F46710ED-988C-4CB5-B880-B72D4C5CEA00}">
      <dsp:nvSpPr>
        <dsp:cNvPr id="0" name=""/>
        <dsp:cNvSpPr/>
      </dsp:nvSpPr>
      <dsp:spPr>
        <a:xfrm>
          <a:off x="2133599" y="228600"/>
          <a:ext cx="1828800" cy="304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nformation</a:t>
          </a:r>
          <a:endParaRPr lang="en-US" sz="1200" kern="1200" dirty="0"/>
        </a:p>
      </dsp:txBody>
      <dsp:txXfrm>
        <a:off x="2148478" y="243479"/>
        <a:ext cx="1799042" cy="275042"/>
      </dsp:txXfrm>
    </dsp:sp>
    <dsp:sp modelId="{5AC59678-083B-4267-A9EF-7908E1B4D45B}">
      <dsp:nvSpPr>
        <dsp:cNvPr id="0" name=""/>
        <dsp:cNvSpPr/>
      </dsp:nvSpPr>
      <dsp:spPr>
        <a:xfrm>
          <a:off x="4231778" y="228600"/>
          <a:ext cx="1828800" cy="304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Action</a:t>
          </a:r>
          <a:endParaRPr lang="en-US" sz="1200" kern="1200" dirty="0"/>
        </a:p>
      </dsp:txBody>
      <dsp:txXfrm>
        <a:off x="4246657" y="243479"/>
        <a:ext cx="1799042" cy="2750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image" Target="../media/image1.emf"/><Relationship Id="rId4" Type="http://schemas.openxmlformats.org/officeDocument/2006/relationships/tags" Target="../tags/tag17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7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test1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24" r="259" b="533"/>
          <a:stretch>
            <a:fillRect/>
          </a:stretch>
        </p:blipFill>
        <p:spPr bwMode="auto">
          <a:xfrm>
            <a:off x="0" y="1323977"/>
            <a:ext cx="9144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6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4" y="6521493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56613"/>
            <a:ext cx="4191400" cy="226163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551798"/>
            <a:ext cx="4191905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067627149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" y="4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51609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457211" y="6246813"/>
            <a:ext cx="211296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FEB9B7F-F10E-40D3-9264-AFCFC16CAD83}" type="datetime1">
              <a:rPr lang="en-US" smtClean="0">
                <a:solidFill>
                  <a:srgbClr val="263147"/>
                </a:solidFill>
              </a:rPr>
              <a:pPr/>
              <a:t>7/6/2017</a:t>
            </a:fld>
            <a:endParaRPr lang="en-IN">
              <a:solidFill>
                <a:srgbClr val="26314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>
          <a:xfrm>
            <a:off x="3127401" y="6246813"/>
            <a:ext cx="288131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IN">
              <a:solidFill>
                <a:srgbClr val="263147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>
          <a:xfrm>
            <a:off x="6556388" y="6246813"/>
            <a:ext cx="211296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F109B09-101D-4B77-9099-854E6F1BF1A4}" type="slidenum">
              <a:rPr lang="en-IN">
                <a:solidFill>
                  <a:srgbClr val="263147"/>
                </a:solidFill>
              </a:rPr>
              <a:pPr/>
              <a:t>‹#›</a:t>
            </a:fld>
            <a:endParaRPr lang="en-IN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9333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>
          <a:xfrm>
            <a:off x="457211" y="6246813"/>
            <a:ext cx="211296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7CCB9F3-3E64-4329-853B-9DA6685BC55F}" type="datetime1">
              <a:rPr lang="en-US" smtClean="0">
                <a:solidFill>
                  <a:srgbClr val="263147"/>
                </a:solidFill>
              </a:rPr>
              <a:pPr/>
              <a:t>7/6/2017</a:t>
            </a:fld>
            <a:endParaRPr lang="en-IN">
              <a:solidFill>
                <a:srgbClr val="263147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>
          <a:xfrm>
            <a:off x="3127401" y="6246813"/>
            <a:ext cx="288131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IN">
              <a:solidFill>
                <a:srgbClr val="26314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>
          <a:xfrm>
            <a:off x="6556388" y="6246813"/>
            <a:ext cx="2112963" cy="455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46B5F6B-B88C-414C-868A-2F225ACAFBA6}" type="slidenum">
              <a:rPr lang="en-IN">
                <a:solidFill>
                  <a:srgbClr val="263147"/>
                </a:solidFill>
              </a:rPr>
              <a:pPr/>
              <a:t>‹#›</a:t>
            </a:fld>
            <a:endParaRPr lang="en-IN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9419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280400" cy="533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1163" y="1143000"/>
            <a:ext cx="408305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4" y="1143000"/>
            <a:ext cx="408305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3612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727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215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3407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4439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951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04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79" r="380" b="511"/>
          <a:stretch>
            <a:fillRect/>
          </a:stretch>
        </p:blipFill>
        <p:spPr bwMode="auto">
          <a:xfrm>
            <a:off x="0" y="1050930"/>
            <a:ext cx="9144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6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4" y="6521493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145310" y="1968823"/>
            <a:ext cx="4998690" cy="2414915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6421" y="4609876"/>
            <a:ext cx="4217582" cy="1806302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294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4476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09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426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5278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6375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50BF8492-1B2C-4D50-A230-B9574F66B52F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8" descr="test3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188" r="380" b="565"/>
          <a:stretch>
            <a:fillRect/>
          </a:stretch>
        </p:blipFill>
        <p:spPr bwMode="auto">
          <a:xfrm>
            <a:off x="0" y="7"/>
            <a:ext cx="9144000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298604" y="1501986"/>
            <a:ext cx="6283986" cy="29502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117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3782B0EC-53C9-4BA0-8954-FF911F3524E1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" y="4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71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1188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437E046-3348-4E9D-9D77-CF20AFE45B3D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" y="4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122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F1BD6D24-378A-489F-8EFD-ECD78E73AFD7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8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2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7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47348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E4AFBA02-EB73-4C36-BFFF-6E9706167CDB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2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7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2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353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261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261" y="1902615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2790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790" y="1902615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19261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19261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62790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662790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53911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5C5E830-FA10-473B-BF56-987ADBFCC90B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6517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7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0" y="1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298938" y="1501775"/>
            <a:ext cx="8711712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Text style level 2</a:t>
            </a:r>
          </a:p>
          <a:p>
            <a:pPr lvl="2"/>
            <a:r>
              <a:rPr lang="en-US" altLang="en-US" smtClean="0"/>
              <a:t>Text style level 3</a:t>
            </a:r>
          </a:p>
          <a:p>
            <a:pPr lvl="3"/>
            <a:r>
              <a:rPr lang="en-US" altLang="en-US" smtClean="0"/>
              <a:t>Text style level 4</a:t>
            </a:r>
          </a:p>
        </p:txBody>
      </p:sp>
      <p:sp>
        <p:nvSpPr>
          <p:cNvPr id="1029" name="TextBox 1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27147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99C49DA7-3839-4B0A-8B3B-2788CE5F07FB}" type="slidenum">
              <a:rPr lang="en-US" altLang="en-US" sz="70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223510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/>
            </a:pPr>
            <a:r>
              <a:rPr lang="en-US" altLang="en-US" sz="70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32" name="Rectangle 1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3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1" y="6443706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78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eaLnBrk="0" fontAlgn="base" hangingPunct="0">
        <a:spcBef>
          <a:spcPct val="0"/>
        </a:spcBef>
        <a:spcAft>
          <a:spcPct val="0"/>
        </a:spcAft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DF05D1-8532-45D2-9F5A-2915C819CB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537286-D796-4831-9705-A364BD8C68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98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diagramColors" Target="../diagrams/colors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diagramQuickStyle" Target="../diagrams/quickStyle2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Layout" Target="../diagrams/layout2.xml"/><Relationship Id="rId5" Type="http://schemas.openxmlformats.org/officeDocument/2006/relationships/diagramQuickStyle" Target="../diagrams/quickStyle1.xml"/><Relationship Id="rId10" Type="http://schemas.openxmlformats.org/officeDocument/2006/relationships/diagramData" Target="../diagrams/data2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2.jp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14300" y="304800"/>
            <a:ext cx="8229600" cy="563562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89895" tIns="44950" rIns="89895" bIns="4495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>
                <a:latin typeface="Calibri" panose="020F0502020204030204" pitchFamily="34" charset="0"/>
                <a:cs typeface="Times New Roman" panose="02020603050405020304" pitchFamily="18" charset="0"/>
              </a:rPr>
              <a:t>Demand forecasting based on product portfolio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04800" y="2362200"/>
            <a:ext cx="8382000" cy="10668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Treating data the same may decrease the accuracy of the forecasts, as you might apply only one method across the product portfolio</a:t>
            </a:r>
          </a:p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Each group of products has different data patterns based on how they were sold and supported over the product life cycle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200" y="1295400"/>
            <a:ext cx="4038600" cy="30777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85750" indent="-285750">
              <a:buFontTx/>
              <a:buBlip>
                <a:blip r:embed="rId3"/>
              </a:buBlip>
              <a:defRPr sz="1400">
                <a:solidFill>
                  <a:prstClr val="black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Some causes for forecasting effort failures</a:t>
            </a:r>
          </a:p>
        </p:txBody>
      </p:sp>
      <p:sp>
        <p:nvSpPr>
          <p:cNvPr id="14" name="Oval 13"/>
          <p:cNvSpPr/>
          <p:nvPr/>
        </p:nvSpPr>
        <p:spPr>
          <a:xfrm>
            <a:off x="1676400" y="1828800"/>
            <a:ext cx="4648200" cy="280229"/>
          </a:xfrm>
          <a:prstGeom prst="ellips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Blip>
                <a:blip r:embed="rId3"/>
              </a:buBlip>
            </a:pPr>
            <a:r>
              <a:rPr lang="en-US" sz="1400" dirty="0">
                <a:solidFill>
                  <a:prstClr val="black"/>
                </a:solidFill>
              </a:rPr>
              <a:t>Not all data are the same.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5686" y="3962400"/>
            <a:ext cx="4191000" cy="20193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New products with little historical sales data </a:t>
            </a:r>
          </a:p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Harvest brands with long, stable historical demand with distinct time series patterns</a:t>
            </a:r>
          </a:p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Growth brands that are highly correlated to sales and marketing causal factors</a:t>
            </a:r>
          </a:p>
          <a:p>
            <a:pPr marL="285750" indent="-285750">
              <a:buFontTx/>
              <a:buBlip>
                <a:blip r:embed="rId2"/>
              </a:buBlip>
            </a:pPr>
            <a:r>
              <a:rPr lang="en-US" sz="1400" dirty="0">
                <a:solidFill>
                  <a:prstClr val="black"/>
                </a:solidFill>
              </a:rPr>
              <a:t>Niche brands with fragmented data across targeted markets and consumers</a:t>
            </a:r>
          </a:p>
        </p:txBody>
      </p:sp>
      <p:sp>
        <p:nvSpPr>
          <p:cNvPr id="16" name="Curved Down Ribbon 15"/>
          <p:cNvSpPr/>
          <p:nvPr/>
        </p:nvSpPr>
        <p:spPr>
          <a:xfrm>
            <a:off x="4724400" y="4610100"/>
            <a:ext cx="3962400" cy="1038497"/>
          </a:xfrm>
          <a:prstGeom prst="ellipseRibbon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Need of the hour is to adapt different strategies across product portfolios</a:t>
            </a:r>
            <a:r>
              <a:rPr lang="en-US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15686" y="3505200"/>
            <a:ext cx="419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n Illu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35772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23" y="1981200"/>
            <a:ext cx="2143125" cy="1990725"/>
          </a:xfrm>
          <a:prstGeom prst="rect">
            <a:avLst/>
          </a:prstGeom>
        </p:spPr>
      </p:pic>
      <p:sp>
        <p:nvSpPr>
          <p:cNvPr id="5" name="Right Brace 4"/>
          <p:cNvSpPr/>
          <p:nvPr/>
        </p:nvSpPr>
        <p:spPr>
          <a:xfrm>
            <a:off x="2424223" y="1066800"/>
            <a:ext cx="1066800" cy="3810000"/>
          </a:xfrm>
          <a:prstGeom prst="rightBrac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877372795"/>
              </p:ext>
            </p:extLst>
          </p:nvPr>
        </p:nvGraphicFramePr>
        <p:xfrm>
          <a:off x="1586023" y="1092200"/>
          <a:ext cx="54864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ight Brace 6"/>
          <p:cNvSpPr/>
          <p:nvPr/>
        </p:nvSpPr>
        <p:spPr>
          <a:xfrm>
            <a:off x="5548423" y="990600"/>
            <a:ext cx="1066800" cy="3810000"/>
          </a:xfrm>
          <a:prstGeom prst="rightBrac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1066800"/>
            <a:ext cx="1752600" cy="13716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623" y="3429000"/>
            <a:ext cx="1752600" cy="956930"/>
          </a:xfrm>
          <a:prstGeom prst="rect">
            <a:avLst/>
          </a:prstGeom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624984744"/>
              </p:ext>
            </p:extLst>
          </p:nvPr>
        </p:nvGraphicFramePr>
        <p:xfrm>
          <a:off x="1509823" y="6019800"/>
          <a:ext cx="6096000" cy="76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1" name="Rectangle 10"/>
          <p:cNvSpPr/>
          <p:nvPr/>
        </p:nvSpPr>
        <p:spPr>
          <a:xfrm>
            <a:off x="290623" y="152400"/>
            <a:ext cx="8534400" cy="60960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prstClr val="white"/>
                </a:solidFill>
              </a:rPr>
              <a:t>Demand Forecasting System - Solution Overview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58000" y="2438401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Dashboards </a:t>
            </a:r>
          </a:p>
        </p:txBody>
      </p:sp>
      <p:sp>
        <p:nvSpPr>
          <p:cNvPr id="13" name="Oval 12"/>
          <p:cNvSpPr/>
          <p:nvPr/>
        </p:nvSpPr>
        <p:spPr>
          <a:xfrm>
            <a:off x="3048000" y="5413744"/>
            <a:ext cx="2743200" cy="572386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Azure ML  Environment</a:t>
            </a:r>
          </a:p>
        </p:txBody>
      </p:sp>
      <p:sp>
        <p:nvSpPr>
          <p:cNvPr id="15" name="Oval 14"/>
          <p:cNvSpPr/>
          <p:nvPr/>
        </p:nvSpPr>
        <p:spPr>
          <a:xfrm>
            <a:off x="205009" y="5410200"/>
            <a:ext cx="2743200" cy="572386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ata Ingestion from Azure Blob / Hive</a:t>
            </a:r>
          </a:p>
        </p:txBody>
      </p:sp>
      <p:sp>
        <p:nvSpPr>
          <p:cNvPr id="16" name="Oval 15"/>
          <p:cNvSpPr/>
          <p:nvPr/>
        </p:nvSpPr>
        <p:spPr>
          <a:xfrm>
            <a:off x="6096000" y="5371214"/>
            <a:ext cx="2743200" cy="572386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Model Reports using Zeppelin</a:t>
            </a:r>
          </a:p>
        </p:txBody>
      </p:sp>
    </p:spTree>
    <p:extLst>
      <p:ext uri="{BB962C8B-B14F-4D97-AF65-F5344CB8AC3E}">
        <p14:creationId xmlns:p14="http://schemas.microsoft.com/office/powerpoint/2010/main" val="40403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</TotalTime>
  <Words>157</Words>
  <Application>Microsoft Office PowerPoint</Application>
  <PresentationFormat>On-screen Show (4:3)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Helvetica Light</vt:lpstr>
      <vt:lpstr>Times New Roman</vt:lpstr>
      <vt:lpstr>Wingdings</vt:lpstr>
      <vt:lpstr>ppt_Template_Capgemini</vt:lpstr>
      <vt:lpstr>Office Theme</vt:lpstr>
      <vt:lpstr>think-cell Slide</vt:lpstr>
      <vt:lpstr>Demand forecasting based on product portfolios</vt:lpstr>
      <vt:lpstr>PowerPoint Presentation</vt:lpstr>
    </vt:vector>
  </TitlesOfParts>
  <Company>IGATECOR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erthala, Sivarama</dc:creator>
  <cp:lastModifiedBy>Chinnakali, Kumar</cp:lastModifiedBy>
  <cp:revision>8</cp:revision>
  <dcterms:created xsi:type="dcterms:W3CDTF">2017-06-13T06:07:06Z</dcterms:created>
  <dcterms:modified xsi:type="dcterms:W3CDTF">2017-07-06T07:44:05Z</dcterms:modified>
</cp:coreProperties>
</file>